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charset="0"/>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01" autoAdjust="0"/>
    <p:restoredTop sz="92157" autoAdjust="0"/>
  </p:normalViewPr>
  <p:slideViewPr>
    <p:cSldViewPr snapToGrid="0">
      <p:cViewPr varScale="1">
        <p:scale>
          <a:sx n="70" d="100"/>
          <a:sy n="70" d="100"/>
        </p:scale>
        <p:origin x="48" y="660"/>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19B0E309-5684-48B1-A415-9414FE6739D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5D7DA960-C8DC-4D6F-9BEE-88BDA463EC8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73AD8F9F-1E34-4124-95D7-3052DDA057C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2</c:v>
                </c:pt>
                <c:pt idx="1">
                  <c:v>0.37</c:v>
                </c:pt>
                <c:pt idx="2">
                  <c:v>0.32</c:v>
                </c:pt>
                <c:pt idx="3">
                  <c:v>0.1</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K$2:$K$5</c15:f>
                <c15:dlblRangeCache>
                  <c:ptCount val="4"/>
                  <c:pt idx="0">
                    <c:v>22%</c:v>
                  </c:pt>
                  <c:pt idx="1">
                    <c:v>37%</c:v>
                  </c:pt>
                  <c:pt idx="2">
                    <c:v>32%</c:v>
                  </c:pt>
                  <c:pt idx="3">
                    <c:v>10%</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F734AECA-E9E3-40BA-84ED-7054942C7B9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3AC3D1D2-6E86-4A72-B29C-B90A5BAD988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38E85740-1BCC-4DA8-BB1F-EB574E4D266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6</c:v>
                </c:pt>
                <c:pt idx="2">
                  <c:v>0.52</c:v>
                </c:pt>
                <c:pt idx="3">
                  <c:v>0.31</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L$2:$L$5</c15:f>
                <c15:dlblRangeCache>
                  <c:ptCount val="4"/>
                  <c:pt idx="0">
                    <c:v>-</c:v>
                  </c:pt>
                  <c:pt idx="1">
                    <c:v>16%</c:v>
                  </c:pt>
                  <c:pt idx="2">
                    <c:v>52%</c:v>
                  </c:pt>
                  <c:pt idx="3">
                    <c:v>31%</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72</c:v>
                </c:pt>
                <c:pt idx="1">
                  <c:v>0.87</c:v>
                </c:pt>
                <c:pt idx="2">
                  <c:v>0.89</c:v>
                </c:pt>
                <c:pt idx="3">
                  <c:v>0.8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995AB15A-8D92-4D67-93E6-A20E8FB74C4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734BC0EC-80F3-4CC9-A75C-A40FEB582E3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4D35569C-9879-438E-B320-0395AA06F2E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28000000000000003</c:v>
                </c:pt>
                <c:pt idx="1">
                  <c:v>0.13</c:v>
                </c:pt>
                <c:pt idx="2">
                  <c:v>0.11</c:v>
                </c:pt>
                <c:pt idx="3">
                  <c:v>0.1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72%</c:v>
                  </c:pt>
                  <c:pt idx="1">
                    <c:v>87%</c:v>
                  </c:pt>
                  <c:pt idx="2">
                    <c:v>89%</c:v>
                  </c:pt>
                  <c:pt idx="3">
                    <c:v>88%</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4</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71DC341A-A5E5-43A6-92D4-9CB420B1D81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40E89A7D-8F88-4E0F-ABFE-8C401FD150A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032C2CF0-7C85-4364-869D-4D90C5028F4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D5558295-F2E8-4756-A6CF-6F434D90641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6</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4%</c:v>
                  </c:pt>
                  <c:pt idx="1">
                    <c:v>-</c:v>
                  </c:pt>
                  <c:pt idx="2">
                    <c:v>-</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5</c:v>
                </c:pt>
                <c:pt idx="1">
                  <c:v>0.84</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E50C8219-CC33-4A39-AFBC-ED4988D6DA7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315B2A7D-6BC2-454A-8A21-97BB9DFB383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62B5F494-865E-4209-A5C8-3D25D41347F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76D129D6-9E87-4E69-89D3-ED67D2869A0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5</c:v>
                </c:pt>
                <c:pt idx="1">
                  <c:v>0.16</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5%</c:v>
                  </c:pt>
                  <c:pt idx="1">
                    <c:v>84%</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5</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4F8E409F-E2F6-40F0-AA44-7CD64E03F68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5FF6A70D-DFE6-4F13-9243-E787F703C32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5</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5%</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9%</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92</c:v>
                </c:pt>
                <c:pt idx="1">
                  <c:v>0.9</c:v>
                </c:pt>
                <c:pt idx="2">
                  <c:v>0.87</c:v>
                </c:pt>
                <c:pt idx="3">
                  <c:v>0.89</c:v>
                </c:pt>
                <c:pt idx="4">
                  <c:v>0.9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29A3B149-F502-4791-8D37-259268EE7BA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91D7E14C-2C15-4F86-9CA7-12B115C72A9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99D79811-02F4-46B0-839D-4AB37F440D9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D32A883A-0FDB-446A-ACFB-704D2097392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08</c:v>
                </c:pt>
                <c:pt idx="1">
                  <c:v>0.1</c:v>
                </c:pt>
                <c:pt idx="2">
                  <c:v>0.13</c:v>
                </c:pt>
                <c:pt idx="3">
                  <c:v>0.11</c:v>
                </c:pt>
                <c:pt idx="4">
                  <c:v>0.0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92%</c:v>
                  </c:pt>
                  <c:pt idx="1">
                    <c:v>90%</c:v>
                  </c:pt>
                  <c:pt idx="2">
                    <c:v>87%</c:v>
                  </c:pt>
                  <c:pt idx="3">
                    <c:v>89%</c:v>
                  </c:pt>
                  <c:pt idx="4">
                    <c:v>91%</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85</c:v>
                </c:pt>
                <c:pt idx="2">
                  <c:v>0.91</c:v>
                </c:pt>
                <c:pt idx="3">
                  <c:v>0.8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27AEBDF2-2A41-4BFB-B367-7F839B5BB58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8247FB9C-CEE1-4CA5-8F80-CE20D12D80D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C3914EF3-E8F2-499D-BAFE-93F049D0640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5</c:v>
                </c:pt>
                <c:pt idx="2">
                  <c:v>0.09</c:v>
                </c:pt>
                <c:pt idx="3">
                  <c:v>0.1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c:v>
                  </c:pt>
                  <c:pt idx="1">
                    <c:v>85%</c:v>
                  </c:pt>
                  <c:pt idx="2">
                    <c:v>91%</c:v>
                  </c:pt>
                  <c:pt idx="3">
                    <c:v>89%</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c:v>
                </c:pt>
                <c:pt idx="1">
                  <c:v>0</c:v>
                </c:pt>
                <c:pt idx="2">
                  <c:v>0.88</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CCE39922-7644-4C2D-9226-853D81E4F88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3DB4A7C2-1633-4932-B398-E4FD4508767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AA31C8DE-9093-444F-8F0F-59908155745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06EFC8EE-7BCC-4DF6-A95E-B96BDEB3667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c:v>
                </c:pt>
                <c:pt idx="1">
                  <c:v>0</c:v>
                </c:pt>
                <c:pt idx="2">
                  <c:v>0.12</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90%</c:v>
                  </c:pt>
                  <c:pt idx="1">
                    <c:v>-</c:v>
                  </c:pt>
                  <c:pt idx="2">
                    <c:v>88%</c:v>
                  </c:pt>
                  <c:pt idx="3">
                    <c:v>-</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9</c:v>
                </c:pt>
                <c:pt idx="1">
                  <c:v>0.89</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789786E8-CB44-46FE-A8EE-DDB9819A285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A047DF15-1B71-429B-80DC-D443E455813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F6BC5E41-F352-4C5A-99BB-A238CDF6D04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2B602BB1-3FF4-4BF3-B6EA-AE812EA6A0A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c:v>
                </c:pt>
                <c:pt idx="1">
                  <c:v>0.11</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90%</c:v>
                  </c:pt>
                  <c:pt idx="1">
                    <c:v>89%</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9</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10DA340C-84BC-4087-AE30-7D3584760D5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8A23DB65-ACBE-4A93-97E6-45B19593BD5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1</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9%</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4</c:v>
                </c:pt>
                <c:pt idx="1">
                  <c:v>89</c:v>
                </c:pt>
                <c:pt idx="2">
                  <c:v>3</c:v>
                </c:pt>
                <c:pt idx="3">
                  <c:v>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0</c:v>
                </c:pt>
                <c:pt idx="1">
                  <c:v>8</c:v>
                </c:pt>
                <c:pt idx="2">
                  <c:v>1</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A0153916-A930-4603-A89D-30C20329064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r>
                      <a:rPr lang="en-GB"/>
                      <a:t>1%</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115E-48E7-9278-D03DDCBD9794}"/>
                </c:ext>
              </c:extLst>
            </c:dLbl>
            <c:dLbl>
              <c:idx val="3"/>
              <c:tx>
                <c:rich>
                  <a:bodyPr/>
                  <a:lstStyle/>
                  <a:p>
                    <a:fld id="{0AD66D4D-B231-4E41-90C6-4D12445E85C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6939E81B-260A-49C3-8E48-4636CB42D09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C042304A-52DD-4F24-BC3D-5F834AC42DC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54BC494A-B751-4B03-818D-42356EA0219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0</c:v>
                </c:pt>
                <c:pt idx="1">
                  <c:v>4</c:v>
                </c:pt>
                <c:pt idx="2">
                  <c:v>1</c:v>
                </c:pt>
                <c:pt idx="3">
                  <c:v>3</c:v>
                </c:pt>
                <c:pt idx="4">
                  <c:v>3</c:v>
                </c:pt>
                <c:pt idx="5">
                  <c:v>3</c:v>
                </c:pt>
                <c:pt idx="6">
                  <c:v>4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0%</c:v>
                  </c:pt>
                  <c:pt idx="1">
                    <c:v>4%</c:v>
                  </c:pt>
                  <c:pt idx="2">
                    <c:v>1%q</c:v>
                  </c:pt>
                  <c:pt idx="3">
                    <c:v>3%</c:v>
                  </c:pt>
                  <c:pt idx="4">
                    <c:v>3%</c:v>
                  </c:pt>
                  <c:pt idx="5">
                    <c:v>3%</c:v>
                  </c:pt>
                  <c:pt idx="6">
                    <c:v>40%</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42364D6C-9F09-4D75-A825-E1C5A170CF9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DFE09B5E-3609-4119-B0B1-9B486AE145E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EAFCACBC-D378-4487-940C-30E4DBD1117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58F088EE-D537-4522-9112-5274DD98649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5EE6A6F1-B113-40CA-B04A-98921CBA5D2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320EC67B-66BD-4A0B-BBF0-76FA29BB854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0</c:v>
                </c:pt>
                <c:pt idx="1">
                  <c:v>5</c:v>
                </c:pt>
                <c:pt idx="2">
                  <c:v>2</c:v>
                </c:pt>
                <c:pt idx="3">
                  <c:v>3</c:v>
                </c:pt>
                <c:pt idx="4">
                  <c:v>14</c:v>
                </c:pt>
                <c:pt idx="5">
                  <c:v>5</c:v>
                </c:pt>
                <c:pt idx="6">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0%</c:v>
                  </c:pt>
                  <c:pt idx="1">
                    <c:v>5%</c:v>
                  </c:pt>
                  <c:pt idx="2">
                    <c:v>2%</c:v>
                  </c:pt>
                  <c:pt idx="3">
                    <c:v>3%</c:v>
                  </c:pt>
                  <c:pt idx="4">
                    <c:v>14%</c:v>
                  </c:pt>
                  <c:pt idx="5">
                    <c:v>5%</c:v>
                  </c:pt>
                  <c:pt idx="6">
                    <c:v>37%</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6EF-47F1-B883-7748EC1E367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EF-47F1-B883-7748EC1E367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FEC113CE-2098-492D-A9F1-9CC46A5592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A86AB71C-3D0C-4717-9265-81A4E8DC39D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c:v>
                </c:pt>
                <c:pt idx="1">
                  <c:v>9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c:v>
                  </c:pt>
                  <c:pt idx="1">
                    <c:v>92%</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2F0-4CF1-80C7-205225AB80C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2F0-4CF1-80C7-205225AB80C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8D8BF611-5801-47B2-90F7-20D002AFA9F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2617C05D-11F4-46C1-8B4A-1DB368726AA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0</c:v>
                </c:pt>
                <c:pt idx="1">
                  <c:v>9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0%</c:v>
                  </c:pt>
                  <c:pt idx="1">
                    <c:v>90%</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5CF-40B3-8374-492CB86772A0}"/>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CF-40B3-8374-492CB86772A0}"/>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B15AFF43-B844-4396-B589-333D5EDD89F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D7D0AE55-538B-4B4B-85A0-3A261565C17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5</c:v>
                </c:pt>
                <c:pt idx="1">
                  <c:v>8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5%</c:v>
                  </c:pt>
                  <c:pt idx="1">
                    <c:v>85%</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895519FA-B26F-46D8-AD52-5670D1DD5BA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1EDF1501-D9A6-43E1-B52C-6135AE187CE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D6D7346F-039A-445E-BEA2-6EB27178B3C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0616B858-9A53-4ABA-ACAE-F8125773F06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9</c:v>
                </c:pt>
                <c:pt idx="1">
                  <c:v>0.4</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59%</c:v>
                  </c:pt>
                  <c:pt idx="1">
                    <c:v>40%</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EDA98686-95C1-4B3C-B03D-84F8FC68643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C669B0AE-051C-4538-B865-95822504B66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620003C2-48CD-49BF-B3B5-DB45CCFC865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A2BFA473-1BBA-418F-BA2E-6BA07441E33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3</c:v>
                </c:pt>
                <c:pt idx="1">
                  <c:v>0.46</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53%</c:v>
                  </c:pt>
                  <c:pt idx="1">
                    <c:v>46%</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819-49AB-9068-B304DBA3CCB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819-49AB-9068-B304DBA3CCB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E79A7FC4-DF9A-4A0E-8596-304DBF07B65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50F54667-60DD-4E1C-B1F8-A5285099946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1</c:v>
                </c:pt>
                <c:pt idx="1">
                  <c:v>7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1%</c:v>
                  </c:pt>
                  <c:pt idx="1">
                    <c:v>79%</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3E6-406A-BD18-9D1352DD1788}"/>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3E6-406A-BD18-9D1352DD1788}"/>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A5DBF45E-1DA4-4577-8FB7-070A73848AC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1%</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83E6-406A-BD18-9D1352DD1788}"/>
                </c:ext>
              </c:extLst>
            </c:dLbl>
            <c:dLbl>
              <c:idx val="1"/>
              <c:tx>
                <c:rich>
                  <a:bodyPr/>
                  <a:lstStyle/>
                  <a:p>
                    <a:r>
                      <a:rPr lang="en-GB"/>
                      <a:t>99%</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c:v>
                </c:pt>
                <c:pt idx="1">
                  <c:v>9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q</c:v>
                  </c:pt>
                  <c:pt idx="1">
                    <c:v>99%p</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044-4A9A-8BF8-13AAE32259E6}"/>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044-4A9A-8BF8-13AAE32259E6}"/>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579A3454-A8FE-4075-A326-A37AA3F0A91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3%</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8044-4A9A-8BF8-13AAE32259E6}"/>
                </c:ext>
              </c:extLst>
            </c:dLbl>
            <c:dLbl>
              <c:idx val="1"/>
              <c:tx>
                <c:rich>
                  <a:bodyPr/>
                  <a:lstStyle/>
                  <a:p>
                    <a:r>
                      <a:rPr lang="en-GB"/>
                      <a:t>97%</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c:v>
                </c:pt>
                <c:pt idx="1">
                  <c:v>9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q</c:v>
                  </c:pt>
                  <c:pt idx="1">
                    <c:v>97%p</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315FD9F1-BC6C-42C1-9E75-9545BF6C910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DF6FE531-7A6C-4947-9C99-8E84F3B8CED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r>
                      <a:rPr lang="en-GB"/>
                      <a:t>8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73EB-456C-B74D-581899DAC290}"/>
                </c:ext>
              </c:extLst>
            </c:dLbl>
            <c:dLbl>
              <c:idx val="3"/>
              <c:tx>
                <c:rich>
                  <a:bodyPr/>
                  <a:lstStyle/>
                  <a:p>
                    <a:fld id="{0074F66A-8685-4717-9E79-D0DFD183DD8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3EB-456C-B74D-581899DAC290}"/>
                </c:ext>
              </c:extLst>
            </c:dLbl>
            <c:dLbl>
              <c:idx val="4"/>
              <c:tx>
                <c:rich>
                  <a:bodyPr/>
                  <a:lstStyle/>
                  <a:p>
                    <a:r>
                      <a:rPr lang="en-GB"/>
                      <a:t>9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73EB-456C-B74D-581899DAC290}"/>
                </c:ext>
              </c:extLst>
            </c:dLbl>
            <c:dLbl>
              <c:idx val="5"/>
              <c:tx>
                <c:rich>
                  <a:bodyPr/>
                  <a:lstStyle/>
                  <a:p>
                    <a:fld id="{D04C04D0-0A0B-4122-9B0A-91EFB0C4ED7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45AF1222-6B50-4E26-9179-DF6B2C03623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2</c:v>
                </c:pt>
                <c:pt idx="1">
                  <c:v>92</c:v>
                </c:pt>
                <c:pt idx="2">
                  <c:v>85</c:v>
                </c:pt>
                <c:pt idx="3">
                  <c:v>74</c:v>
                </c:pt>
                <c:pt idx="4">
                  <c:v>95</c:v>
                </c:pt>
                <c:pt idx="5">
                  <c:v>33</c:v>
                </c:pt>
                <c:pt idx="6">
                  <c:v>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2%</c:v>
                  </c:pt>
                  <c:pt idx="1">
                    <c:v>92%</c:v>
                  </c:pt>
                  <c:pt idx="2">
                    <c:v>85%p</c:v>
                  </c:pt>
                  <c:pt idx="3">
                    <c:v>74%</c:v>
                  </c:pt>
                  <c:pt idx="4">
                    <c:v>95%p</c:v>
                  </c:pt>
                  <c:pt idx="5">
                    <c:v>33%</c:v>
                  </c:pt>
                  <c:pt idx="6">
                    <c:v>*</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2CFBF1D3-A21B-4330-BC29-30C13F8A883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r>
                      <a:rPr lang="en-GB"/>
                      <a:t>9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3E36-4621-A2A8-3ADDA83CA04C}"/>
                </c:ext>
              </c:extLst>
            </c:dLbl>
            <c:dLbl>
              <c:idx val="2"/>
              <c:tx>
                <c:rich>
                  <a:bodyPr/>
                  <a:lstStyle/>
                  <a:p>
                    <a:r>
                      <a:rPr lang="en-GB"/>
                      <a:t>8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E36-4621-A2A8-3ADDA83CA04C}"/>
                </c:ext>
              </c:extLst>
            </c:dLbl>
            <c:dLbl>
              <c:idx val="3"/>
              <c:tx>
                <c:rich>
                  <a:bodyPr/>
                  <a:lstStyle/>
                  <a:p>
                    <a:fld id="{F6CEF7B8-31B5-4A65-A223-52EE30E0C8F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r>
                      <a:rPr lang="en-GB"/>
                      <a:t>94%</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3E36-4621-A2A8-3ADDA83CA04C}"/>
                </c:ext>
              </c:extLst>
            </c:dLbl>
            <c:dLbl>
              <c:idx val="5"/>
              <c:tx>
                <c:rich>
                  <a:bodyPr/>
                  <a:lstStyle/>
                  <a:p>
                    <a:fld id="{75F3BC21-93BB-40C9-B5ED-D331DC8AD21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AF007C63-4CBC-4B95-9775-58F3D70EF9A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4</c:v>
                </c:pt>
                <c:pt idx="1">
                  <c:v>95</c:v>
                </c:pt>
                <c:pt idx="2">
                  <c:v>85</c:v>
                </c:pt>
                <c:pt idx="3">
                  <c:v>71</c:v>
                </c:pt>
                <c:pt idx="4">
                  <c:v>94</c:v>
                </c:pt>
                <c:pt idx="5">
                  <c:v>45</c:v>
                </c:pt>
                <c:pt idx="6">
                  <c:v>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4%</c:v>
                  </c:pt>
                  <c:pt idx="1">
                    <c:v>95%p</c:v>
                  </c:pt>
                  <c:pt idx="2">
                    <c:v>85%p</c:v>
                  </c:pt>
                  <c:pt idx="3">
                    <c:v>71%</c:v>
                  </c:pt>
                  <c:pt idx="4">
                    <c:v>94%p</c:v>
                  </c:pt>
                  <c:pt idx="5">
                    <c:v>45%</c:v>
                  </c:pt>
                  <c:pt idx="6">
                    <c:v>1%</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5</c:v>
                </c:pt>
                <c:pt idx="1">
                  <c:v>31</c:v>
                </c:pt>
                <c:pt idx="2">
                  <c:v>10</c:v>
                </c:pt>
                <c:pt idx="3">
                  <c:v>3</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1</c:v>
                </c:pt>
                <c:pt idx="1">
                  <c:v>32</c:v>
                </c:pt>
                <c:pt idx="2">
                  <c:v>12</c:v>
                </c:pt>
                <c:pt idx="3">
                  <c:v>5</c:v>
                </c:pt>
                <c:pt idx="4">
                  <c:v>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B922C09C-D6ED-421C-AD72-E41CD16E846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14265CBF-A0ED-474C-96B3-4800D84E00A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9</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4</c15:f>
                <c15:dlblRangeCache>
                  <c:ptCount val="3"/>
                  <c:pt idx="0">
                    <c:v>99%</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5808E14C-FC75-46CB-BC59-E4BC060BBAD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FA15018B-3BFD-48FB-A746-01C3B84B388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9</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4</c15:f>
                <c15:dlblRangeCache>
                  <c:ptCount val="3"/>
                  <c:pt idx="0">
                    <c:v>99%</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5</c:v>
                </c:pt>
                <c:pt idx="1">
                  <c:v>25</c:v>
                </c:pt>
                <c:pt idx="2">
                  <c:v>7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6</c:v>
                </c:pt>
                <c:pt idx="1">
                  <c:v>38</c:v>
                </c:pt>
                <c:pt idx="2">
                  <c:v>5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8</c:v>
                </c:pt>
                <c:pt idx="1">
                  <c:v>16</c:v>
                </c:pt>
                <c:pt idx="2">
                  <c:v>28</c:v>
                </c:pt>
                <c:pt idx="3">
                  <c:v>17</c:v>
                </c:pt>
                <c:pt idx="4">
                  <c:v>3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7</c:v>
                </c:pt>
                <c:pt idx="1">
                  <c:v>21</c:v>
                </c:pt>
                <c:pt idx="2">
                  <c:v>21</c:v>
                </c:pt>
                <c:pt idx="3">
                  <c:v>19</c:v>
                </c:pt>
                <c:pt idx="4">
                  <c:v>2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5.3999999999999999E-2</c:v>
                </c:pt>
                <c:pt idx="1">
                  <c:v>0.108</c:v>
                </c:pt>
                <c:pt idx="2">
                  <c:v>0.22900000000000001</c:v>
                </c:pt>
                <c:pt idx="3">
                  <c:v>0.29799999999999999</c:v>
                </c:pt>
                <c:pt idx="4">
                  <c:v>0.3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9.2999999999999999E-2</c:v>
                </c:pt>
                <c:pt idx="1">
                  <c:v>0.11600000000000001</c:v>
                </c:pt>
                <c:pt idx="2">
                  <c:v>0.24299999999999999</c:v>
                </c:pt>
                <c:pt idx="3">
                  <c:v>0.31</c:v>
                </c:pt>
                <c:pt idx="4">
                  <c:v>0.2379999999999999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5</c:v>
                </c:pt>
                <c:pt idx="1">
                  <c:v>11</c:v>
                </c:pt>
                <c:pt idx="2">
                  <c:v>25</c:v>
                </c:pt>
                <c:pt idx="3">
                  <c:v>21</c:v>
                </c:pt>
                <c:pt idx="4">
                  <c:v>3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8</c:v>
                </c:pt>
                <c:pt idx="1">
                  <c:v>16</c:v>
                </c:pt>
                <c:pt idx="2">
                  <c:v>20</c:v>
                </c:pt>
                <c:pt idx="3">
                  <c:v>23</c:v>
                </c:pt>
                <c:pt idx="4">
                  <c:v>3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22</c:v>
                </c:pt>
                <c:pt idx="2">
                  <c:v>27</c:v>
                </c:pt>
                <c:pt idx="3">
                  <c:v>20</c:v>
                </c:pt>
                <c:pt idx="4">
                  <c:v>2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5</c:v>
                </c:pt>
                <c:pt idx="1">
                  <c:v>33</c:v>
                </c:pt>
                <c:pt idx="2">
                  <c:v>19</c:v>
                </c:pt>
                <c:pt idx="3">
                  <c:v>13</c:v>
                </c:pt>
                <c:pt idx="4">
                  <c:v>1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7784B91C-67AD-4734-8DE6-2C79D1BFC74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7CC2CD3A-E347-43BD-8671-5E6A27416E2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63EAB0CC-69C2-4090-B118-C70085B8737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00171847-258A-4491-B012-D304A7F5AD8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7</c:v>
                </c:pt>
                <c:pt idx="1">
                  <c:v>0</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97%</c:v>
                  </c:pt>
                  <c:pt idx="1">
                    <c:v>-</c:v>
                  </c:pt>
                  <c:pt idx="2">
                    <c:v>-</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0E6CC002-5C80-4089-A537-E1FD10D5BC6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8C8CBBF4-6EED-4CAF-9F7B-1654B2AB9A7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F7A583C9-39FC-4BC6-8247-E5C4E6F72E9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CF08B7F4-0C2F-4EFF-9A3C-7326D9C75AD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88</c:v>
                </c:pt>
                <c:pt idx="1">
                  <c:v>0</c:v>
                </c:pt>
                <c:pt idx="2">
                  <c:v>0.08</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88%</c:v>
                  </c:pt>
                  <c:pt idx="1">
                    <c:v>-</c:v>
                  </c:pt>
                  <c:pt idx="2">
                    <c:v>8%</c:v>
                  </c:pt>
                  <c:pt idx="3">
                    <c:v>-</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5</c:v>
                </c:pt>
                <c:pt idx="1">
                  <c:v>8</c:v>
                </c:pt>
                <c:pt idx="2">
                  <c:v>27</c:v>
                </c:pt>
                <c:pt idx="3">
                  <c:v>20</c:v>
                </c:pt>
                <c:pt idx="4">
                  <c:v>4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1</c:v>
                </c:pt>
                <c:pt idx="1">
                  <c:v>12</c:v>
                </c:pt>
                <c:pt idx="2">
                  <c:v>26</c:v>
                </c:pt>
                <c:pt idx="3">
                  <c:v>20</c:v>
                </c:pt>
                <c:pt idx="4">
                  <c:v>3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8</c:v>
                </c:pt>
                <c:pt idx="1">
                  <c:v>21</c:v>
                </c:pt>
                <c:pt idx="2">
                  <c:v>43</c:v>
                </c:pt>
                <c:pt idx="3">
                  <c:v>2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0</c:v>
                </c:pt>
                <c:pt idx="1">
                  <c:v>35</c:v>
                </c:pt>
                <c:pt idx="2">
                  <c:v>36</c:v>
                </c:pt>
                <c:pt idx="3">
                  <c:v>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7</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3</c:v>
                </c:pt>
                <c:pt idx="1">
                  <c:v>36</c:v>
                </c:pt>
                <c:pt idx="2">
                  <c:v>13</c:v>
                </c:pt>
                <c:pt idx="3">
                  <c:v>3</c:v>
                </c:pt>
                <c:pt idx="4">
                  <c:v>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9</c:v>
                </c:pt>
                <c:pt idx="1">
                  <c:v>22</c:v>
                </c:pt>
                <c:pt idx="2">
                  <c:v>6</c:v>
                </c:pt>
                <c:pt idx="3">
                  <c:v>2</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5</c:v>
                </c:pt>
                <c:pt idx="1">
                  <c:v>50</c:v>
                </c:pt>
                <c:pt idx="2">
                  <c:v>11</c:v>
                </c:pt>
                <c:pt idx="3">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2</c:v>
                </c:pt>
                <c:pt idx="1">
                  <c:v>50</c:v>
                </c:pt>
                <c:pt idx="2">
                  <c:v>15</c:v>
                </c:pt>
                <c:pt idx="3">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1</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863-4EF3-8628-514246B9651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863-4EF3-8628-514246B9651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66BBAF86-2A64-45B9-BEDE-3C4D4F22790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A8B0F2C7-0606-43DD-B2BC-AEF9F66BADE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2%</c:v>
                  </c:pt>
                  <c:pt idx="1">
                    <c:v>18%</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5E-4713-BCB6-17010B44716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E5E-4713-BCB6-17010B44716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425A9AD9-93E4-4F60-BCBE-51ED0E4BBD2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6DE4690D-5BA3-4806-90A5-84432769BC7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3</c:v>
                </c:pt>
                <c:pt idx="1">
                  <c:v>1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3%</c:v>
                  </c:pt>
                  <c:pt idx="1">
                    <c:v>17%</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FB6-49AC-A845-714BC7862DE1}"/>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FB6-49AC-A845-714BC7862DE1}"/>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2DDC55BD-3D04-45A5-9D1E-4634F62CCBF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4ABCBB8D-464B-40DC-AC23-7F40EDB3AC3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7</c:v>
                </c:pt>
                <c:pt idx="1">
                  <c:v>3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7%</c:v>
                  </c:pt>
                  <c:pt idx="1">
                    <c:v>33%</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1B2-481E-8927-CB542BF48EB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1B2-481E-8927-CB542BF48EB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3217911D-49D6-4BDF-AD82-144890A75EC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89D5EB8F-02F3-4E5B-BCFD-ECCBA4DEEDD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1</c:v>
                </c:pt>
                <c:pt idx="1">
                  <c:v>1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1%</c:v>
                  </c:pt>
                  <c:pt idx="1">
                    <c:v>19%</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D0-417A-9AE1-625975EDEF4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D0-417A-9AE1-625975EDEF4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D0702895-C9AF-4853-9A71-E8FE7BF4C46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4BF46304-0821-4022-8D78-82031779C19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7</c:v>
                </c:pt>
                <c:pt idx="1">
                  <c:v>6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7%</c:v>
                  </c:pt>
                  <c:pt idx="1">
                    <c:v>63%</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31F-4356-B084-576816CB2DE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31F-4356-B084-576816CB2DE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3C534E48-0CB3-486B-986B-F829C8B65BF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56F1D11F-79E9-4878-A05F-3197158ECC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4</c:v>
                </c:pt>
                <c:pt idx="1">
                  <c:v>5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4%</c:v>
                  </c:pt>
                  <c:pt idx="1">
                    <c:v>56%</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E81-4665-B9F1-19FE31D5928C}"/>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E81-4665-B9F1-19FE31D5928C}"/>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0D36E67D-073B-44D7-AB50-2601E82CDE6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1857D9D5-2CBF-4CE2-98A6-D4AAC77DD41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4</c:v>
                </c:pt>
                <c:pt idx="1">
                  <c:v>5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4%</c:v>
                  </c:pt>
                  <c:pt idx="1">
                    <c:v>56%</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DD-430C-8FF3-E4B09270E25F}"/>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DD-430C-8FF3-E4B09270E25F}"/>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895978BB-F230-4C61-AE80-A43D290E6FC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45619089-27E8-4BA7-BEEA-910DDFBC43F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4</c:v>
                </c:pt>
                <c:pt idx="1">
                  <c:v>6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4%</c:v>
                  </c:pt>
                  <c:pt idx="1">
                    <c:v>66%</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F3E-4C45-9DAC-B2929C4B2C2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F3E-4C45-9DAC-B2929C4B2C2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20A99F0D-4128-4643-9F43-673538C05C0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A405C21E-361B-41E7-8E3F-6588AA18F71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1</c:v>
                </c:pt>
                <c:pt idx="1">
                  <c:v>1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1%</c:v>
                  </c:pt>
                  <c:pt idx="1">
                    <c:v>19%</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F81-41A0-AA5F-E21FFFB8EB7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F81-41A0-AA5F-E21FFFB8EB7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E5F3A568-4724-42AE-B502-B2825ED9F44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2%</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5F81-41A0-AA5F-E21FFFB8EB7E}"/>
                </c:ext>
              </c:extLst>
            </c:dLbl>
            <c:dLbl>
              <c:idx val="1"/>
              <c:tx>
                <c:rich>
                  <a:bodyPr/>
                  <a:lstStyle/>
                  <a:p>
                    <a:r>
                      <a:rPr lang="en-GB"/>
                      <a:t>18%</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2%p</c:v>
                  </c:pt>
                  <c:pt idx="1">
                    <c:v>18%q</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532-49D4-9643-2B7F1FC6412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532-49D4-9643-2B7F1FC6412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768A0345-595C-431F-A484-41A2E296D7B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63B8F9B6-E500-4FD8-9265-13794DBC88C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5</c:v>
                </c:pt>
                <c:pt idx="1">
                  <c:v>3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5%</c:v>
                  </c:pt>
                  <c:pt idx="1">
                    <c:v>35%</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6-4EA4-9136-CE48FDDBE16D}"/>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C56-4EA4-9136-CE48FDDBE16D}"/>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16FE59C3-61C9-470B-8EE8-6BA7566B745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D171087F-3F65-4E6E-81D3-FDF4A6963F7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1</c:v>
                </c:pt>
                <c:pt idx="1">
                  <c:v>4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1%</c:v>
                  </c:pt>
                  <c:pt idx="1">
                    <c:v>49%</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011-40D3-80BA-F4CA421B82A7}"/>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011-40D3-80BA-F4CA421B82A7}"/>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E706CCDA-9653-4D76-B778-3DA4BC63566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E3558D09-7B98-4607-AFEF-FDE77466608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7</c:v>
                </c:pt>
                <c:pt idx="1">
                  <c:v>2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7%</c:v>
                  </c:pt>
                  <c:pt idx="1">
                    <c:v>23%</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A96-46F4-8DED-A8EE18A7949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A96-46F4-8DED-A8EE18A7949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1AD9F963-C029-4690-B58E-143364CF7D0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8444BDD3-EF1C-45B4-97F3-B0BAF8616CA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7</c:v>
                </c:pt>
                <c:pt idx="1">
                  <c:v>2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7%</c:v>
                  </c:pt>
                  <c:pt idx="1">
                    <c:v>23%</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7</c:v>
                </c:pt>
                <c:pt idx="1">
                  <c:v>35</c:v>
                </c:pt>
                <c:pt idx="2">
                  <c:v>1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3</c:v>
                </c:pt>
                <c:pt idx="1">
                  <c:v>49</c:v>
                </c:pt>
                <c:pt idx="2">
                  <c:v>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r>
                      <a:rPr lang="en-GB"/>
                      <a:t>2%</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7519-4C1F-9643-9A55D10271AC}"/>
                </c:ext>
              </c:extLst>
            </c:dLbl>
            <c:dLbl>
              <c:idx val="2"/>
              <c:tx>
                <c:rich>
                  <a:bodyPr/>
                  <a:lstStyle/>
                  <a:p>
                    <a:fld id="{6392F6FC-CD6C-47B6-953B-AF2CF4DBBEE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367634FD-4656-4D17-85D9-EF1642B5E55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2B7835A3-0FB8-4B43-A88C-BB3B7A83962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32A5F5A2-5641-40C6-AF35-276F671E9EB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3297CD8D-EA5F-4DE1-849E-7031D7DA351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58</c:v>
                </c:pt>
                <c:pt idx="1">
                  <c:v>2</c:v>
                </c:pt>
                <c:pt idx="2">
                  <c:v>66</c:v>
                </c:pt>
                <c:pt idx="3">
                  <c:v>33</c:v>
                </c:pt>
                <c:pt idx="4">
                  <c:v>20</c:v>
                </c:pt>
                <c:pt idx="5">
                  <c:v>13</c:v>
                </c:pt>
                <c:pt idx="6">
                  <c:v>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8%</c:v>
                  </c:pt>
                  <c:pt idx="1">
                    <c:v>2%q</c:v>
                  </c:pt>
                  <c:pt idx="2">
                    <c:v>66%</c:v>
                  </c:pt>
                  <c:pt idx="3">
                    <c:v>33%</c:v>
                  </c:pt>
                  <c:pt idx="4">
                    <c:v>20%</c:v>
                  </c:pt>
                  <c:pt idx="5">
                    <c:v>13%</c:v>
                  </c:pt>
                  <c:pt idx="6">
                    <c:v>6%</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4E0FB37F-A959-431F-AA2D-33491539F18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93E36324-D2C4-46C2-812D-F9A35AED824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BBF02146-5A29-421F-B0F5-68CB4C6B576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E73E95D9-8187-4D4D-8687-63D1B6E6DEC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EA3B6858-7E9A-423D-B4D8-E15EF94AB8F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6C760A95-C101-459C-98B3-384033235C3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8</c:v>
                </c:pt>
                <c:pt idx="1">
                  <c:v>14</c:v>
                </c:pt>
                <c:pt idx="2">
                  <c:v>36</c:v>
                </c:pt>
                <c:pt idx="3">
                  <c:v>46</c:v>
                </c:pt>
                <c:pt idx="4">
                  <c:v>7</c:v>
                </c:pt>
                <c:pt idx="5">
                  <c:v>14</c:v>
                </c:pt>
                <c:pt idx="6">
                  <c:v>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28%</c:v>
                  </c:pt>
                  <c:pt idx="1">
                    <c:v>14%</c:v>
                  </c:pt>
                  <c:pt idx="2">
                    <c:v>36%</c:v>
                  </c:pt>
                  <c:pt idx="3">
                    <c:v>46%</c:v>
                  </c:pt>
                  <c:pt idx="4">
                    <c:v>7%</c:v>
                  </c:pt>
                  <c:pt idx="5">
                    <c:v>14%</c:v>
                  </c:pt>
                  <c:pt idx="6">
                    <c:v>8%</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62</c:v>
                </c:pt>
                <c:pt idx="1">
                  <c:v>34</c:v>
                </c:pt>
                <c:pt idx="2">
                  <c:v>3</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9</c:v>
                </c:pt>
                <c:pt idx="1">
                  <c:v>37</c:v>
                </c:pt>
                <c:pt idx="2">
                  <c:v>3</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5%</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92</c:v>
                </c:pt>
                <c:pt idx="1">
                  <c:v>0.82</c:v>
                </c:pt>
                <c:pt idx="2">
                  <c:v>0.81</c:v>
                </c:pt>
                <c:pt idx="3">
                  <c:v>0.85</c:v>
                </c:pt>
                <c:pt idx="4">
                  <c:v>0.86</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93757515-6F7B-495B-9A07-9A28139D90A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DE83CCCE-59E5-4B3F-A91F-C8266DD1164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C81622BD-12BA-4795-AE1D-6C38404CDCC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EE45C392-9287-468F-ADC0-43DA456E08E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08</c:v>
                </c:pt>
                <c:pt idx="1">
                  <c:v>0.18</c:v>
                </c:pt>
                <c:pt idx="2">
                  <c:v>0.19</c:v>
                </c:pt>
                <c:pt idx="3">
                  <c:v>0.15</c:v>
                </c:pt>
                <c:pt idx="4">
                  <c:v>0.140000000000000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92%</c:v>
                  </c:pt>
                  <c:pt idx="1">
                    <c:v>82%</c:v>
                  </c:pt>
                  <c:pt idx="2">
                    <c:v>81%</c:v>
                  </c:pt>
                  <c:pt idx="3">
                    <c:v>85%</c:v>
                  </c:pt>
                  <c:pt idx="4">
                    <c:v>86%</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ATH AND NORTH EAST SOMERSET, SWINDON AND WILTSHIRE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ATH AND NORTH EAST SOMERSET, SWINDON AND WILTSHIRE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ATH AND NORTH EAST SOMERSET, SWINDON AND WILTSHIRE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ATH AND NORTH EAST SOMERSET, SWINDON AND WILTSHIRE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BATH AND NORTH EAST SOMERSET, SWINDON AND WILTSHIRE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2900" b="0" dirty="0">
                <a:solidFill>
                  <a:prstClr val="white"/>
                </a:solidFill>
                <a:latin typeface="Arial Black" panose="020B0A04020102020204" pitchFamily="34" charset="0"/>
              </a:rPr>
              <a:t>BATH AND NORTH EAST SOMERSET, SWINDON AND WILTSHIRE INTEGRATED CARE SYSTEM</a:t>
            </a:r>
            <a:endParaRPr lang="en-GB" sz="29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463413005"/>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Attending an annual review ever
Having a foot check as part of their last annual review
Having a blood test check as part of their last annual review
Having confidence in using devices to manage their diabete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917454889"/>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787967832"/>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providing support in taking part in physical activity</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207509564"/>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BATH AND NORTH EAST SOMERSET, SWINDON AND WILTSHIR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44678674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399050355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0% of respondents who were marked as Type 1 in the sample selected ‘Type 1’, 8% selected ‘Type 2’, 1% selected ‘Other’ and 1% selected ‘I don’t know’ ​</a:t>
            </a:r>
          </a:p>
          <a:p>
            <a:pPr marL="171450" indent="-171450">
              <a:buFont typeface="Arial" panose="020B0604020202020204" pitchFamily="34" charset="0"/>
              <a:buChar char="•"/>
              <a:defRPr/>
            </a:pPr>
            <a:r>
              <a:rPr lang="en-GB" sz="1200" dirty="0">
                <a:solidFill>
                  <a:schemeClr val="tx1"/>
                </a:solidFill>
                <a:effectLst/>
              </a:rPr>
              <a:t>89% of respondents who were marked as Type 2 in the sample selected ‘Type 2’, 4% selected ‘Type 1’, 3% selected ‘Other’ and 5%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394); Type 2, ICS (532)).</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434726357"/>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3140515192"/>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365451886"/>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2411952041"/>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39121639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49); Type 2, National (19,941), ICS (436))</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223152261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84279519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38); Type 2, National (22,278), ICS (481))</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38823425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89579226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08); Type 2, National (21,082), ICS (470))</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54845397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411961307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394); Type 2, National (24,180), ICS (528))</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46799606"/>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021017651"/>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2351351988"/>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1943128502"/>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426175842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385); Type 2, National (22,482), ICS (509))</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78684829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348346908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248561049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248696897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94260337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1610196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405763159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166723696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394577212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390); Type 2, National (22,670), ICS (511))</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xmlns:asvg="http://schemas.microsoft.com/office/drawing/2016/SVG/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353945926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72575933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404958156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332216576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411105607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217851462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359684322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370989949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269650067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393); Type 2, National (24,076), ICS (529))</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40813173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207414874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111179590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399033360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245634436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331972369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261930766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5951435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393); Type 2, National (24,153), ICS (529))</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255137060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366935411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247713815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230924395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116258227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357440007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230683282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10925460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6628924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394); Type 2, National (24,135), ICS (529))</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161990514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230915149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200297281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343103166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188433394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377982651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100942372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319458400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170105977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93); Type 2, National (24,084), ICS (531))</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130140198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116386302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100884922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110552570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57082557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229719740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182621462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64622195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370916137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93); Type 2, National (24,070), ICS (530))</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9426321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1123291763"/>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75027929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2954294844"/>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2157611779"/>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370936384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7301933"/>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296672759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391302332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94); Type 2, National (24,260), ICS (534))</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416509859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39688377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399596934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286180375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390527473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217750003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236410685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117270541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425888276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394); Type 2, National (24,267), ICS (532))</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272279982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93544099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133591711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412884655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209671380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291732664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362912496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152482538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86727878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93); Type 2, National (24,196), ICS (531))</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354571279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190533660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402639857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393); Type 2, National (24,019), ICS (526))</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260445538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359307613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197); Type 2, National (11,860), ICS (249))</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418829227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94463880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377); Type 2, National (21,228), ICS (456))</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94153715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271620198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71); Type 2, National (20,915), ICS (456))</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300230951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370966596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52); Type 2, National (20,086), ICS (431))</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15144635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389388604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64); Type 2, National (21,890), ICS (484))</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121375640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389018982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38); Type 2, National (18,585), ICS (399))</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394805037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280298709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158619960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203341237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259790376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184809032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407024558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68982640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377); Type 2, National (22,580), ICS (502))</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192619973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1192955509"/>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3585365003"/>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2856172267"/>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722422160"/>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329815116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287); Type 2, National (12,350), ICS (252))</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27109275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2251813332"/>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417751932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74000442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347400832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164559021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251354177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426172335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374); Type 2, National (10,911), ICS (254))</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163575597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474464996"/>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3137022075"/>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3279620748"/>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3322314858"/>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1643523278"/>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4073636561"/>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388))</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2317689848"/>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2554551789"/>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845049203"/>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383145769"/>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628826500"/>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4006668187"/>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06))</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BATH AND NORTH EAST SOMERSET, SWINDON AND WILTSHIRE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144</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932</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43%</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394</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38</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835</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309</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1281973300"/>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1718479509"/>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1926799372"/>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3193387314"/>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3485382475"/>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1948637359"/>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904526319"/>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BATH AND NORTH EAST SOMERSET, SWINDON AND WILTSHIR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4011994040"/>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Attending an annual review ever
Having a blood pressure check as part of their last annual review
Having a foot check as part of their last annual review
Having a blood test check as part of their last annual review
Describing their experience at the last annual review as good</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039548266"/>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764097667"/>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528130471"/>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2.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76A31D0-D410-459F-8B3A-5041DA332E8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20</TotalTime>
  <Words>5378</Words>
  <Application>Microsoft Office PowerPoint</Application>
  <PresentationFormat>Widescreen</PresentationFormat>
  <Paragraphs>810</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Barlow</vt:lpstr>
      <vt:lpstr>Wingdings</vt:lpstr>
      <vt:lpstr>Arial Black</vt:lpstr>
      <vt:lpstr>Arial</vt:lpstr>
      <vt:lpstr>Roboto</vt:lpstr>
      <vt:lpstr>Wingdings 3</vt:lpstr>
      <vt:lpstr>Arial (Body)</vt:lpstr>
      <vt:lpstr>Segoe UI</vt:lpstr>
      <vt:lpstr>HelveticaNeueLT Std Lt Cn</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Jane Stevens</cp:lastModifiedBy>
  <cp:revision>173</cp:revision>
  <cp:lastPrinted>2024-09-17T13:37:47Z</cp:lastPrinted>
  <dcterms:created xsi:type="dcterms:W3CDTF">2024-06-17T14:42:21Z</dcterms:created>
  <dcterms:modified xsi:type="dcterms:W3CDTF">2024-12-04T11:19: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